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0" r:id="rId4"/>
  </p:sldMasterIdLst>
  <p:notesMasterIdLst>
    <p:notesMasterId r:id="rId6"/>
  </p:notesMasterIdLst>
  <p:sldIdLst>
    <p:sldId id="266" r:id="rId5"/>
  </p:sldIdLst>
  <p:sldSz cx="30275213" cy="42803763"/>
  <p:notesSz cx="9926638" cy="14355763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516" userDrawn="1">
          <p15:clr>
            <a:srgbClr val="A4A3A4"/>
          </p15:clr>
        </p15:guide>
        <p15:guide id="2" pos="554" userDrawn="1">
          <p15:clr>
            <a:srgbClr val="A4A3A4"/>
          </p15:clr>
        </p15:guide>
        <p15:guide id="3" pos="1884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BD0"/>
    <a:srgbClr val="FF1A00"/>
    <a:srgbClr val="141E8C"/>
    <a:srgbClr val="055ED2"/>
    <a:srgbClr val="6AB0E2"/>
    <a:srgbClr val="FECB00"/>
    <a:srgbClr val="EC6500"/>
    <a:srgbClr val="3C8A2E"/>
    <a:srgbClr val="A702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C8A519D-51CD-4485-89D6-91F02BCB3A75}" v="5" dt="2024-04-08T13:10:48.56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973" autoAdjust="0"/>
    <p:restoredTop sz="94660"/>
  </p:normalViewPr>
  <p:slideViewPr>
    <p:cSldViewPr snapToGrid="0">
      <p:cViewPr>
        <p:scale>
          <a:sx n="40" d="100"/>
          <a:sy n="40" d="100"/>
        </p:scale>
        <p:origin x="1956" y="20"/>
      </p:cViewPr>
      <p:guideLst>
        <p:guide orient="horz" pos="26516"/>
        <p:guide pos="554"/>
        <p:guide pos="1884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8" d="100"/>
          <a:sy n="78" d="100"/>
        </p:scale>
        <p:origin x="4648" y="68"/>
      </p:cViewPr>
      <p:guideLst/>
    </p:cSldViewPr>
  </p:notesViewPr>
  <p:gridSpacing cx="360000" cy="360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Hammad, Leila" userId="e0060735-4e0b-46c7-a6c3-c0cf6b3fb745" providerId="ADAL" clId="{0ED2B8B0-414D-4039-A12B-2D31AAC8F0FA}"/>
    <pc:docChg chg="custSel modSld modMainMaster">
      <pc:chgData name="Hammad, Leila" userId="e0060735-4e0b-46c7-a6c3-c0cf6b3fb745" providerId="ADAL" clId="{0ED2B8B0-414D-4039-A12B-2D31AAC8F0FA}" dt="2023-02-06T09:10:35.426" v="156" actId="20577"/>
      <pc:docMkLst>
        <pc:docMk/>
      </pc:docMkLst>
      <pc:sldChg chg="modSp mod">
        <pc:chgData name="Hammad, Leila" userId="e0060735-4e0b-46c7-a6c3-c0cf6b3fb745" providerId="ADAL" clId="{0ED2B8B0-414D-4039-A12B-2D31AAC8F0FA}" dt="2023-02-06T09:10:35.426" v="156" actId="20577"/>
        <pc:sldMkLst>
          <pc:docMk/>
          <pc:sldMk cId="1430462515" sldId="266"/>
        </pc:sldMkLst>
        <pc:spChg chg="mod">
          <ac:chgData name="Hammad, Leila" userId="e0060735-4e0b-46c7-a6c3-c0cf6b3fb745" providerId="ADAL" clId="{0ED2B8B0-414D-4039-A12B-2D31AAC8F0FA}" dt="2023-02-06T09:10:35.426" v="156" actId="20577"/>
          <ac:spMkLst>
            <pc:docMk/>
            <pc:sldMk cId="1430462515" sldId="266"/>
            <ac:spMk id="4" creationId="{77AD2EE2-716B-4535-9986-A50C5938D741}"/>
          </ac:spMkLst>
        </pc:spChg>
        <pc:spChg chg="mod">
          <ac:chgData name="Hammad, Leila" userId="e0060735-4e0b-46c7-a6c3-c0cf6b3fb745" providerId="ADAL" clId="{0ED2B8B0-414D-4039-A12B-2D31AAC8F0FA}" dt="2023-02-06T09:08:20.044" v="91" actId="20577"/>
          <ac:spMkLst>
            <pc:docMk/>
            <pc:sldMk cId="1430462515" sldId="266"/>
            <ac:spMk id="6" creationId="{490ACC0D-4708-49F8-89F6-0D0135133B48}"/>
          </ac:spMkLst>
        </pc:spChg>
      </pc:sldChg>
      <pc:sldMasterChg chg="modSp mod">
        <pc:chgData name="Hammad, Leila" userId="e0060735-4e0b-46c7-a6c3-c0cf6b3fb745" providerId="ADAL" clId="{0ED2B8B0-414D-4039-A12B-2D31AAC8F0FA}" dt="2023-02-06T09:10:02.065" v="151" actId="20577"/>
        <pc:sldMasterMkLst>
          <pc:docMk/>
          <pc:sldMasterMk cId="1386213227" sldId="2147483720"/>
        </pc:sldMasterMkLst>
        <pc:spChg chg="mod">
          <ac:chgData name="Hammad, Leila" userId="e0060735-4e0b-46c7-a6c3-c0cf6b3fb745" providerId="ADAL" clId="{0ED2B8B0-414D-4039-A12B-2D31AAC8F0FA}" dt="2023-02-06T09:10:02.065" v="151" actId="20577"/>
          <ac:spMkLst>
            <pc:docMk/>
            <pc:sldMasterMk cId="1386213227" sldId="2147483720"/>
            <ac:spMk id="11" creationId="{719D3FB4-6A06-40A4-95A8-330F0EC72828}"/>
          </ac:spMkLst>
        </pc:spChg>
      </pc:sldMasterChg>
    </pc:docChg>
  </pc:docChgLst>
  <pc:docChgLst>
    <pc:chgData name="Hammad, Leila" userId="e0060735-4e0b-46c7-a6c3-c0cf6b3fb745" providerId="ADAL" clId="{C372EB4E-FF57-4A4B-A48B-AD1FB33BD8C6}"/>
    <pc:docChg chg="undo custSel modSld modMainMaster">
      <pc:chgData name="Hammad, Leila" userId="e0060735-4e0b-46c7-a6c3-c0cf6b3fb745" providerId="ADAL" clId="{C372EB4E-FF57-4A4B-A48B-AD1FB33BD8C6}" dt="2024-01-16T13:18:22.731" v="249" actId="6549"/>
      <pc:docMkLst>
        <pc:docMk/>
      </pc:docMkLst>
      <pc:sldChg chg="addSp delSp modSp mod">
        <pc:chgData name="Hammad, Leila" userId="e0060735-4e0b-46c7-a6c3-c0cf6b3fb745" providerId="ADAL" clId="{C372EB4E-FF57-4A4B-A48B-AD1FB33BD8C6}" dt="2024-01-16T13:17:54.936" v="244" actId="20577"/>
        <pc:sldMkLst>
          <pc:docMk/>
          <pc:sldMk cId="1430462515" sldId="266"/>
        </pc:sldMkLst>
        <pc:spChg chg="add mod">
          <ac:chgData name="Hammad, Leila" userId="e0060735-4e0b-46c7-a6c3-c0cf6b3fb745" providerId="ADAL" clId="{C372EB4E-FF57-4A4B-A48B-AD1FB33BD8C6}" dt="2024-01-16T13:14:08.548" v="109" actId="1076"/>
          <ac:spMkLst>
            <pc:docMk/>
            <pc:sldMk cId="1430462515" sldId="266"/>
            <ac:spMk id="2" creationId="{BC400C14-ACDE-33D2-711C-1307DD851FF7}"/>
          </ac:spMkLst>
        </pc:spChg>
        <pc:spChg chg="mod">
          <ac:chgData name="Hammad, Leila" userId="e0060735-4e0b-46c7-a6c3-c0cf6b3fb745" providerId="ADAL" clId="{C372EB4E-FF57-4A4B-A48B-AD1FB33BD8C6}" dt="2024-01-16T13:17:54.936" v="244" actId="20577"/>
          <ac:spMkLst>
            <pc:docMk/>
            <pc:sldMk cId="1430462515" sldId="266"/>
            <ac:spMk id="4" creationId="{77AD2EE2-716B-4535-9986-A50C5938D741}"/>
          </ac:spMkLst>
        </pc:spChg>
        <pc:spChg chg="mod">
          <ac:chgData name="Hammad, Leila" userId="e0060735-4e0b-46c7-a6c3-c0cf6b3fb745" providerId="ADAL" clId="{C372EB4E-FF57-4A4B-A48B-AD1FB33BD8C6}" dt="2024-01-16T13:11:24.640" v="80"/>
          <ac:spMkLst>
            <pc:docMk/>
            <pc:sldMk cId="1430462515" sldId="266"/>
            <ac:spMk id="5" creationId="{9E30A2DA-169F-402D-BAD7-2729E2BFA514}"/>
          </ac:spMkLst>
        </pc:spChg>
        <pc:spChg chg="del">
          <ac:chgData name="Hammad, Leila" userId="e0060735-4e0b-46c7-a6c3-c0cf6b3fb745" providerId="ADAL" clId="{C372EB4E-FF57-4A4B-A48B-AD1FB33BD8C6}" dt="2024-01-16T13:08:40.064" v="10" actId="21"/>
          <ac:spMkLst>
            <pc:docMk/>
            <pc:sldMk cId="1430462515" sldId="266"/>
            <ac:spMk id="6" creationId="{490ACC0D-4708-49F8-89F6-0D0135133B48}"/>
          </ac:spMkLst>
        </pc:spChg>
        <pc:spChg chg="add mod">
          <ac:chgData name="Hammad, Leila" userId="e0060735-4e0b-46c7-a6c3-c0cf6b3fb745" providerId="ADAL" clId="{C372EB4E-FF57-4A4B-A48B-AD1FB33BD8C6}" dt="2024-01-16T13:17:03.829" v="234" actId="403"/>
          <ac:spMkLst>
            <pc:docMk/>
            <pc:sldMk cId="1430462515" sldId="266"/>
            <ac:spMk id="8" creationId="{E634C97A-B6E0-9A9D-DEEF-E74604535954}"/>
          </ac:spMkLst>
        </pc:spChg>
      </pc:sldChg>
      <pc:sldMasterChg chg="addSp delSp modSp mod modSldLayout">
        <pc:chgData name="Hammad, Leila" userId="e0060735-4e0b-46c7-a6c3-c0cf6b3fb745" providerId="ADAL" clId="{C372EB4E-FF57-4A4B-A48B-AD1FB33BD8C6}" dt="2024-01-16T13:18:22.731" v="249" actId="6549"/>
        <pc:sldMasterMkLst>
          <pc:docMk/>
          <pc:sldMasterMk cId="1386213227" sldId="2147483720"/>
        </pc:sldMasterMkLst>
        <pc:spChg chg="add mod">
          <ac:chgData name="Hammad, Leila" userId="e0060735-4e0b-46c7-a6c3-c0cf6b3fb745" providerId="ADAL" clId="{C372EB4E-FF57-4A4B-A48B-AD1FB33BD8C6}" dt="2024-01-16T13:14:23.900" v="110" actId="21"/>
          <ac:spMkLst>
            <pc:docMk/>
            <pc:sldMasterMk cId="1386213227" sldId="2147483720"/>
            <ac:spMk id="2" creationId="{DEBDD388-C595-E6A1-03B0-925AA8462F03}"/>
          </ac:spMkLst>
        </pc:spChg>
        <pc:spChg chg="add del mod">
          <ac:chgData name="Hammad, Leila" userId="e0060735-4e0b-46c7-a6c3-c0cf6b3fb745" providerId="ADAL" clId="{C372EB4E-FF57-4A4B-A48B-AD1FB33BD8C6}" dt="2024-01-16T13:09:27.897" v="22"/>
          <ac:spMkLst>
            <pc:docMk/>
            <pc:sldMasterMk cId="1386213227" sldId="2147483720"/>
            <ac:spMk id="3" creationId="{3778AB4A-5E12-8654-51CD-0F5A15150B84}"/>
          </ac:spMkLst>
        </pc:spChg>
        <pc:spChg chg="add del mod">
          <ac:chgData name="Hammad, Leila" userId="e0060735-4e0b-46c7-a6c3-c0cf6b3fb745" providerId="ADAL" clId="{C372EB4E-FF57-4A4B-A48B-AD1FB33BD8C6}" dt="2024-01-16T13:12:58.858" v="86" actId="21"/>
          <ac:spMkLst>
            <pc:docMk/>
            <pc:sldMasterMk cId="1386213227" sldId="2147483720"/>
            <ac:spMk id="4" creationId="{AC50C7E6-8B51-F0D1-2028-2E731907BABA}"/>
          </ac:spMkLst>
        </pc:spChg>
        <pc:spChg chg="add mod">
          <ac:chgData name="Hammad, Leila" userId="e0060735-4e0b-46c7-a6c3-c0cf6b3fb745" providerId="ADAL" clId="{C372EB4E-FF57-4A4B-A48B-AD1FB33BD8C6}" dt="2024-01-16T13:13:34.173" v="105" actId="2711"/>
          <ac:spMkLst>
            <pc:docMk/>
            <pc:sldMasterMk cId="1386213227" sldId="2147483720"/>
            <ac:spMk id="5" creationId="{26FD5B07-F296-05FE-C5B5-85AD047C3881}"/>
          </ac:spMkLst>
        </pc:spChg>
        <pc:spChg chg="mod">
          <ac:chgData name="Hammad, Leila" userId="e0060735-4e0b-46c7-a6c3-c0cf6b3fb745" providerId="ADAL" clId="{C372EB4E-FF57-4A4B-A48B-AD1FB33BD8C6}" dt="2024-01-16T13:18:22.731" v="249" actId="6549"/>
          <ac:spMkLst>
            <pc:docMk/>
            <pc:sldMasterMk cId="1386213227" sldId="2147483720"/>
            <ac:spMk id="11" creationId="{719D3FB4-6A06-40A4-95A8-330F0EC72828}"/>
          </ac:spMkLst>
        </pc:spChg>
        <pc:sldLayoutChg chg="addSp delSp modSp mod">
          <pc:chgData name="Hammad, Leila" userId="e0060735-4e0b-46c7-a6c3-c0cf6b3fb745" providerId="ADAL" clId="{C372EB4E-FF57-4A4B-A48B-AD1FB33BD8C6}" dt="2024-01-16T13:14:48.148" v="111" actId="6549"/>
          <pc:sldLayoutMkLst>
            <pc:docMk/>
            <pc:sldMasterMk cId="1386213227" sldId="2147483720"/>
            <pc:sldLayoutMk cId="2310647922" sldId="2147483722"/>
          </pc:sldLayoutMkLst>
          <pc:spChg chg="add mod">
            <ac:chgData name="Hammad, Leila" userId="e0060735-4e0b-46c7-a6c3-c0cf6b3fb745" providerId="ADAL" clId="{C372EB4E-FF57-4A4B-A48B-AD1FB33BD8C6}" dt="2024-01-16T13:14:48.148" v="111" actId="6549"/>
            <ac:spMkLst>
              <pc:docMk/>
              <pc:sldMasterMk cId="1386213227" sldId="2147483720"/>
              <pc:sldLayoutMk cId="2310647922" sldId="2147483722"/>
              <ac:spMk id="2" creationId="{A09041DB-7D6A-92B6-34A6-74A7243EACDC}"/>
            </ac:spMkLst>
          </pc:spChg>
          <pc:spChg chg="add del">
            <ac:chgData name="Hammad, Leila" userId="e0060735-4e0b-46c7-a6c3-c0cf6b3fb745" providerId="ADAL" clId="{C372EB4E-FF57-4A4B-A48B-AD1FB33BD8C6}" dt="2024-01-16T13:11:56.980" v="82" actId="22"/>
            <ac:spMkLst>
              <pc:docMk/>
              <pc:sldMasterMk cId="1386213227" sldId="2147483720"/>
              <pc:sldLayoutMk cId="2310647922" sldId="2147483722"/>
              <ac:spMk id="4" creationId="{96DE70F5-15CE-34C2-7458-DD6798897BFD}"/>
            </ac:spMkLst>
          </pc:spChg>
        </pc:sldLayoutChg>
      </pc:sldMasterChg>
    </pc:docChg>
  </pc:docChgLst>
  <pc:docChgLst>
    <pc:chgData name="Hammad, Leila" userId="e0060735-4e0b-46c7-a6c3-c0cf6b3fb745" providerId="ADAL" clId="{7A68FB1D-A78C-4BB6-81B3-936FCA8146EA}"/>
    <pc:docChg chg="undo custSel modSld modMainMaster">
      <pc:chgData name="Hammad, Leila" userId="e0060735-4e0b-46c7-a6c3-c0cf6b3fb745" providerId="ADAL" clId="{7A68FB1D-A78C-4BB6-81B3-936FCA8146EA}" dt="2024-03-06T08:46:43.250" v="62" actId="478"/>
      <pc:docMkLst>
        <pc:docMk/>
      </pc:docMkLst>
      <pc:sldChg chg="addSp delSp modSp mod">
        <pc:chgData name="Hammad, Leila" userId="e0060735-4e0b-46c7-a6c3-c0cf6b3fb745" providerId="ADAL" clId="{7A68FB1D-A78C-4BB6-81B3-936FCA8146EA}" dt="2024-03-06T08:46:20.029" v="60" actId="478"/>
        <pc:sldMkLst>
          <pc:docMk/>
          <pc:sldMk cId="1430462515" sldId="266"/>
        </pc:sldMkLst>
        <pc:spChg chg="del">
          <ac:chgData name="Hammad, Leila" userId="e0060735-4e0b-46c7-a6c3-c0cf6b3fb745" providerId="ADAL" clId="{7A68FB1D-A78C-4BB6-81B3-936FCA8146EA}" dt="2024-03-06T08:46:17.362" v="58" actId="478"/>
          <ac:spMkLst>
            <pc:docMk/>
            <pc:sldMk cId="1430462515" sldId="266"/>
            <ac:spMk id="2" creationId="{BC400C14-ACDE-33D2-711C-1307DD851FF7}"/>
          </ac:spMkLst>
        </pc:spChg>
        <pc:spChg chg="add del">
          <ac:chgData name="Hammad, Leila" userId="e0060735-4e0b-46c7-a6c3-c0cf6b3fb745" providerId="ADAL" clId="{7A68FB1D-A78C-4BB6-81B3-936FCA8146EA}" dt="2024-03-06T08:46:20.029" v="60" actId="478"/>
          <ac:spMkLst>
            <pc:docMk/>
            <pc:sldMk cId="1430462515" sldId="266"/>
            <ac:spMk id="5" creationId="{9E30A2DA-169F-402D-BAD7-2729E2BFA514}"/>
          </ac:spMkLst>
        </pc:spChg>
        <pc:spChg chg="mod">
          <ac:chgData name="Hammad, Leila" userId="e0060735-4e0b-46c7-a6c3-c0cf6b3fb745" providerId="ADAL" clId="{7A68FB1D-A78C-4BB6-81B3-936FCA8146EA}" dt="2024-03-06T08:43:52.909" v="57" actId="20577"/>
          <ac:spMkLst>
            <pc:docMk/>
            <pc:sldMk cId="1430462515" sldId="266"/>
            <ac:spMk id="7" creationId="{00000000-0000-0000-0000-000000000000}"/>
          </ac:spMkLst>
        </pc:spChg>
      </pc:sldChg>
      <pc:sldMasterChg chg="addSp delSp modSp mod modSldLayout">
        <pc:chgData name="Hammad, Leila" userId="e0060735-4e0b-46c7-a6c3-c0cf6b3fb745" providerId="ADAL" clId="{7A68FB1D-A78C-4BB6-81B3-936FCA8146EA}" dt="2024-03-06T08:46:43.250" v="62" actId="478"/>
        <pc:sldMasterMkLst>
          <pc:docMk/>
          <pc:sldMasterMk cId="1386213227" sldId="2147483720"/>
        </pc:sldMasterMkLst>
        <pc:spChg chg="del">
          <ac:chgData name="Hammad, Leila" userId="e0060735-4e0b-46c7-a6c3-c0cf6b3fb745" providerId="ADAL" clId="{7A68FB1D-A78C-4BB6-81B3-936FCA8146EA}" dt="2024-03-06T08:46:43.250" v="62" actId="478"/>
          <ac:spMkLst>
            <pc:docMk/>
            <pc:sldMasterMk cId="1386213227" sldId="2147483720"/>
            <ac:spMk id="4" creationId="{AC50C7E6-8B51-F0D1-2028-2E731907BABA}"/>
          </ac:spMkLst>
        </pc:spChg>
        <pc:spChg chg="del">
          <ac:chgData name="Hammad, Leila" userId="e0060735-4e0b-46c7-a6c3-c0cf6b3fb745" providerId="ADAL" clId="{7A68FB1D-A78C-4BB6-81B3-936FCA8146EA}" dt="2024-03-06T08:46:41.772" v="61" actId="478"/>
          <ac:spMkLst>
            <pc:docMk/>
            <pc:sldMasterMk cId="1386213227" sldId="2147483720"/>
            <ac:spMk id="5" creationId="{26FD5B07-F296-05FE-C5B5-85AD047C3881}"/>
          </ac:spMkLst>
        </pc:spChg>
        <pc:spChg chg="mod">
          <ac:chgData name="Hammad, Leila" userId="e0060735-4e0b-46c7-a6c3-c0cf6b3fb745" providerId="ADAL" clId="{7A68FB1D-A78C-4BB6-81B3-936FCA8146EA}" dt="2024-02-27T13:25:18.489" v="4" actId="108"/>
          <ac:spMkLst>
            <pc:docMk/>
            <pc:sldMasterMk cId="1386213227" sldId="2147483720"/>
            <ac:spMk id="11" creationId="{719D3FB4-6A06-40A4-95A8-330F0EC72828}"/>
          </ac:spMkLst>
        </pc:spChg>
        <pc:spChg chg="add mod">
          <ac:chgData name="Hammad, Leila" userId="e0060735-4e0b-46c7-a6c3-c0cf6b3fb745" providerId="ADAL" clId="{7A68FB1D-A78C-4BB6-81B3-936FCA8146EA}" dt="2024-03-06T08:43:05.288" v="54"/>
          <ac:spMkLst>
            <pc:docMk/>
            <pc:sldMasterMk cId="1386213227" sldId="2147483720"/>
            <ac:spMk id="14" creationId="{E465FAAF-EA98-9715-F685-7E9B33C40FD2}"/>
          </ac:spMkLst>
        </pc:spChg>
        <pc:picChg chg="add del mod modCrop">
          <ac:chgData name="Hammad, Leila" userId="e0060735-4e0b-46c7-a6c3-c0cf6b3fb745" providerId="ADAL" clId="{7A68FB1D-A78C-4BB6-81B3-936FCA8146EA}" dt="2024-03-06T08:41:30.706" v="7" actId="478"/>
          <ac:picMkLst>
            <pc:docMk/>
            <pc:sldMasterMk cId="1386213227" sldId="2147483720"/>
            <ac:picMk id="6" creationId="{252A1DAA-8A22-6F6D-A47E-91404CBD2C1F}"/>
          </ac:picMkLst>
        </pc:picChg>
        <pc:picChg chg="add mod">
          <ac:chgData name="Hammad, Leila" userId="e0060735-4e0b-46c7-a6c3-c0cf6b3fb745" providerId="ADAL" clId="{7A68FB1D-A78C-4BB6-81B3-936FCA8146EA}" dt="2024-03-06T08:42:00.833" v="16" actId="1076"/>
          <ac:picMkLst>
            <pc:docMk/>
            <pc:sldMasterMk cId="1386213227" sldId="2147483720"/>
            <ac:picMk id="13" creationId="{8DD75B81-0F99-D11D-AD67-14861593A93E}"/>
          </ac:picMkLst>
        </pc:picChg>
        <pc:sldLayoutChg chg="addSp delSp modSp mod">
          <pc:chgData name="Hammad, Leila" userId="e0060735-4e0b-46c7-a6c3-c0cf6b3fb745" providerId="ADAL" clId="{7A68FB1D-A78C-4BB6-81B3-936FCA8146EA}" dt="2024-03-06T08:42:57.896" v="53" actId="21"/>
          <pc:sldLayoutMkLst>
            <pc:docMk/>
            <pc:sldMasterMk cId="1386213227" sldId="2147483720"/>
            <pc:sldLayoutMk cId="2310647922" sldId="2147483722"/>
          </pc:sldLayoutMkLst>
          <pc:spChg chg="add del mod">
            <ac:chgData name="Hammad, Leila" userId="e0060735-4e0b-46c7-a6c3-c0cf6b3fb745" providerId="ADAL" clId="{7A68FB1D-A78C-4BB6-81B3-936FCA8146EA}" dt="2024-03-06T08:42:57.896" v="53" actId="21"/>
            <ac:spMkLst>
              <pc:docMk/>
              <pc:sldMasterMk cId="1386213227" sldId="2147483720"/>
              <pc:sldLayoutMk cId="2310647922" sldId="2147483722"/>
              <ac:spMk id="3" creationId="{E00F6C8C-CF90-431C-5C7A-6AC68176E7A7}"/>
            </ac:spMkLst>
          </pc:spChg>
        </pc:sldLayoutChg>
      </pc:sldMasterChg>
    </pc:docChg>
  </pc:docChgLst>
  <pc:docChgLst>
    <pc:chgData name="Hammad, Leila" userId="e0060735-4e0b-46c7-a6c3-c0cf6b3fb745" providerId="ADAL" clId="{669805B1-7330-4B57-8641-7DFF7DDA266C}"/>
    <pc:docChg chg="custSel modSld">
      <pc:chgData name="Hammad, Leila" userId="e0060735-4e0b-46c7-a6c3-c0cf6b3fb745" providerId="ADAL" clId="{669805B1-7330-4B57-8641-7DFF7DDA266C}" dt="2022-06-17T06:42:51.824" v="18" actId="20577"/>
      <pc:docMkLst>
        <pc:docMk/>
      </pc:docMkLst>
      <pc:sldChg chg="modSp mod">
        <pc:chgData name="Hammad, Leila" userId="e0060735-4e0b-46c7-a6c3-c0cf6b3fb745" providerId="ADAL" clId="{669805B1-7330-4B57-8641-7DFF7DDA266C}" dt="2022-06-17T06:42:51.824" v="18" actId="20577"/>
        <pc:sldMkLst>
          <pc:docMk/>
          <pc:sldMk cId="1430462515" sldId="266"/>
        </pc:sldMkLst>
        <pc:spChg chg="mod">
          <ac:chgData name="Hammad, Leila" userId="e0060735-4e0b-46c7-a6c3-c0cf6b3fb745" providerId="ADAL" clId="{669805B1-7330-4B57-8641-7DFF7DDA266C}" dt="2022-06-17T06:42:51.824" v="18" actId="20577"/>
          <ac:spMkLst>
            <pc:docMk/>
            <pc:sldMk cId="1430462515" sldId="266"/>
            <ac:spMk id="6" creationId="{490ACC0D-4708-49F8-89F6-0D0135133B48}"/>
          </ac:spMkLst>
        </pc:spChg>
      </pc:sldChg>
    </pc:docChg>
  </pc:docChgLst>
  <pc:docChgLst>
    <pc:chgData name="Hammad, Leila" userId="e0060735-4e0b-46c7-a6c3-c0cf6b3fb745" providerId="ADAL" clId="{BC8A519D-51CD-4485-89D6-91F02BCB3A75}"/>
    <pc:docChg chg="undo custSel modSld modMainMaster">
      <pc:chgData name="Hammad, Leila" userId="e0060735-4e0b-46c7-a6c3-c0cf6b3fb745" providerId="ADAL" clId="{BC8A519D-51CD-4485-89D6-91F02BCB3A75}" dt="2024-04-08T13:12:31.520" v="140" actId="2711"/>
      <pc:docMkLst>
        <pc:docMk/>
      </pc:docMkLst>
      <pc:sldChg chg="addSp delSp modSp mod">
        <pc:chgData name="Hammad, Leila" userId="e0060735-4e0b-46c7-a6c3-c0cf6b3fb745" providerId="ADAL" clId="{BC8A519D-51CD-4485-89D6-91F02BCB3A75}" dt="2024-04-08T13:12:31.520" v="140" actId="2711"/>
        <pc:sldMkLst>
          <pc:docMk/>
          <pc:sldMk cId="1430462515" sldId="266"/>
        </pc:sldMkLst>
        <pc:spChg chg="add del mod">
          <ac:chgData name="Hammad, Leila" userId="e0060735-4e0b-46c7-a6c3-c0cf6b3fb745" providerId="ADAL" clId="{BC8A519D-51CD-4485-89D6-91F02BCB3A75}" dt="2024-04-08T13:09:58.696" v="120" actId="21"/>
          <ac:spMkLst>
            <pc:docMk/>
            <pc:sldMk cId="1430462515" sldId="266"/>
            <ac:spMk id="2" creationId="{82F2A95C-2A4A-0F1F-4A2D-B0C4672795F2}"/>
          </ac:spMkLst>
        </pc:spChg>
        <pc:spChg chg="add del">
          <ac:chgData name="Hammad, Leila" userId="e0060735-4e0b-46c7-a6c3-c0cf6b3fb745" providerId="ADAL" clId="{BC8A519D-51CD-4485-89D6-91F02BCB3A75}" dt="2024-04-08T13:10:43.461" v="136" actId="22"/>
          <ac:spMkLst>
            <pc:docMk/>
            <pc:sldMk cId="1430462515" sldId="266"/>
            <ac:spMk id="6" creationId="{FABF7A0C-2C4F-517A-2D71-96E09A8AC843}"/>
          </ac:spMkLst>
        </pc:spChg>
        <pc:spChg chg="add mod">
          <ac:chgData name="Hammad, Leila" userId="e0060735-4e0b-46c7-a6c3-c0cf6b3fb745" providerId="ADAL" clId="{BC8A519D-51CD-4485-89D6-91F02BCB3A75}" dt="2024-04-08T13:12:31.520" v="140" actId="2711"/>
          <ac:spMkLst>
            <pc:docMk/>
            <pc:sldMk cId="1430462515" sldId="266"/>
            <ac:spMk id="9" creationId="{BEB0296B-FAA0-1A22-9F29-B57D18F67AF9}"/>
          </ac:spMkLst>
        </pc:spChg>
      </pc:sldChg>
      <pc:sldMasterChg chg="addSp modSp mod modSldLayout">
        <pc:chgData name="Hammad, Leila" userId="e0060735-4e0b-46c7-a6c3-c0cf6b3fb745" providerId="ADAL" clId="{BC8A519D-51CD-4485-89D6-91F02BCB3A75}" dt="2024-04-08T13:10:37.208" v="134" actId="1035"/>
        <pc:sldMasterMkLst>
          <pc:docMk/>
          <pc:sldMasterMk cId="1386213227" sldId="2147483720"/>
        </pc:sldMasterMkLst>
        <pc:spChg chg="add mod">
          <ac:chgData name="Hammad, Leila" userId="e0060735-4e0b-46c7-a6c3-c0cf6b3fb745" providerId="ADAL" clId="{BC8A519D-51CD-4485-89D6-91F02BCB3A75}" dt="2024-04-08T13:10:37.208" v="134" actId="1035"/>
          <ac:spMkLst>
            <pc:docMk/>
            <pc:sldMasterMk cId="1386213227" sldId="2147483720"/>
            <ac:spMk id="3" creationId="{BD59D919-5AAD-F0DC-B1CC-8CC8FED0B3A3}"/>
          </ac:spMkLst>
        </pc:spChg>
        <pc:sldLayoutChg chg="addSp delSp modSp mod">
          <pc:chgData name="Hammad, Leila" userId="e0060735-4e0b-46c7-a6c3-c0cf6b3fb745" providerId="ADAL" clId="{BC8A519D-51CD-4485-89D6-91F02BCB3A75}" dt="2024-04-08T13:08:36.864" v="64"/>
          <pc:sldLayoutMkLst>
            <pc:docMk/>
            <pc:sldMasterMk cId="1386213227" sldId="2147483720"/>
            <pc:sldLayoutMk cId="2310647922" sldId="2147483722"/>
          </pc:sldLayoutMkLst>
          <pc:spChg chg="add del mod">
            <ac:chgData name="Hammad, Leila" userId="e0060735-4e0b-46c7-a6c3-c0cf6b3fb745" providerId="ADAL" clId="{BC8A519D-51CD-4485-89D6-91F02BCB3A75}" dt="2024-04-08T13:07:54.535" v="24"/>
            <ac:spMkLst>
              <pc:docMk/>
              <pc:sldMasterMk cId="1386213227" sldId="2147483720"/>
              <pc:sldLayoutMk cId="2310647922" sldId="2147483722"/>
              <ac:spMk id="3" creationId="{E87DBBE8-17F7-462E-DAB3-E0230FCDAE0C}"/>
            </ac:spMkLst>
          </pc:spChg>
          <pc:spChg chg="add del mod">
            <ac:chgData name="Hammad, Leila" userId="e0060735-4e0b-46c7-a6c3-c0cf6b3fb745" providerId="ADAL" clId="{BC8A519D-51CD-4485-89D6-91F02BCB3A75}" dt="2024-04-08T13:08:36.864" v="64"/>
            <ac:spMkLst>
              <pc:docMk/>
              <pc:sldMasterMk cId="1386213227" sldId="2147483720"/>
              <pc:sldLayoutMk cId="2310647922" sldId="2147483722"/>
              <ac:spMk id="4" creationId="{FF9FC9C5-71E9-6554-D77A-597AEB555A14}"/>
            </ac:spMkLst>
          </pc:spChg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125" cy="719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2925" y="0"/>
            <a:ext cx="4302125" cy="719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A389DD-E8E9-4B23-804D-6ABA3D18A33B}" type="datetimeFigureOut">
              <a:rPr lang="de-DE" smtClean="0"/>
              <a:t>08.04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249613" y="1793875"/>
            <a:ext cx="3427412" cy="4845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188" y="6908800"/>
            <a:ext cx="7942262" cy="56530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13636625"/>
            <a:ext cx="4302125" cy="719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2925" y="13636625"/>
            <a:ext cx="4302125" cy="719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A900E0-178E-499A-8C02-C2254F0E2CED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52645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A09041DB-7D6A-92B6-34A6-74A7243EACDC}"/>
              </a:ext>
            </a:extLst>
          </p:cNvPr>
          <p:cNvSpPr>
            <a:spLocks/>
          </p:cNvSpPr>
          <p:nvPr userDrawn="1"/>
        </p:nvSpPr>
        <p:spPr bwMode="auto">
          <a:xfrm>
            <a:off x="26681700" y="1294084"/>
            <a:ext cx="2160000" cy="2160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  <a:effectLst/>
        </p:spPr>
        <p:txBody>
          <a:bodyPr wrap="none" anchor="t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Aft>
                <a:spcPts val="800"/>
              </a:spcAft>
              <a:defRPr/>
            </a:pPr>
            <a:r>
              <a:rPr lang="de-DE" altLang="de-DE" sz="3200" b="1" dirty="0" err="1"/>
              <a:t>No</a:t>
            </a:r>
            <a:r>
              <a:rPr lang="de-DE" altLang="de-DE" sz="3200" b="1" dirty="0"/>
              <a:t>.</a:t>
            </a:r>
          </a:p>
          <a:p>
            <a:pPr algn="ctr">
              <a:spcAft>
                <a:spcPts val="800"/>
              </a:spcAft>
              <a:defRPr/>
            </a:pPr>
            <a:endParaRPr lang="de-DE" altLang="de-DE" sz="2000" dirty="0"/>
          </a:p>
        </p:txBody>
      </p:sp>
    </p:spTree>
    <p:extLst>
      <p:ext uri="{BB962C8B-B14F-4D97-AF65-F5344CB8AC3E}">
        <p14:creationId xmlns:p14="http://schemas.microsoft.com/office/powerpoint/2010/main" val="23106479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g"/><Relationship Id="rId3" Type="http://schemas.openxmlformats.org/officeDocument/2006/relationships/tags" Target="../tags/tag2.xml"/><Relationship Id="rId7" Type="http://schemas.openxmlformats.org/officeDocument/2006/relationships/image" Target="../media/image3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CB75E28C-705F-42B3-BF0E-F159316B1AF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36042523"/>
              </p:ext>
            </p:extLst>
          </p:nvPr>
        </p:nvGraphicFramePr>
        <p:xfrm>
          <a:off x="1589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CB75E28C-705F-42B3-BF0E-F159316B1A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2" descr="Fotografieren Verboten - Illustrationen und Vektorgrafiken - iStock">
            <a:extLst>
              <a:ext uri="{FF2B5EF4-FFF2-40B4-BE49-F238E27FC236}">
                <a16:creationId xmlns:a16="http://schemas.microsoft.com/office/drawing/2014/main" id="{6C174EBE-0578-43C9-BBDF-4F26EACBC84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650764" y="1139234"/>
            <a:ext cx="2520000" cy="25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F9098C4-BF45-43DF-817D-D05F0D325C3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99270" y="37702121"/>
            <a:ext cx="3602743" cy="3962408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719D3FB4-6A06-40A4-95A8-330F0EC72828}"/>
              </a:ext>
            </a:extLst>
          </p:cNvPr>
          <p:cNvSpPr txBox="1"/>
          <p:nvPr userDrawn="1"/>
        </p:nvSpPr>
        <p:spPr>
          <a:xfrm>
            <a:off x="1473200" y="38294679"/>
            <a:ext cx="18332883" cy="318089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8000" kern="1200" dirty="0">
                <a:solidFill>
                  <a:schemeClr val="tx1"/>
                </a:solidFill>
                <a:latin typeface="ZEISS Frutiger Next W1G Heavy" panose="020B0903040204020203" pitchFamily="34" charset="0"/>
                <a:ea typeface="+mn-ea"/>
                <a:cs typeface="ZEISS Frutiger Next W1G Heavy" panose="020B0903040204020203" pitchFamily="34" charset="0"/>
              </a:rPr>
              <a:t>ZEISS</a:t>
            </a:r>
            <a:r>
              <a:rPr lang="en-US" sz="8000" dirty="0"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en-US" sz="8000" dirty="0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INNOVATION </a:t>
            </a:r>
            <a:r>
              <a:rPr lang="en-US" sz="8000" kern="1200" dirty="0">
                <a:solidFill>
                  <a:schemeClr val="tx1"/>
                </a:solidFill>
                <a:latin typeface="ZEISS Frutiger Next W1G Heavy" panose="020B0903040204020203" pitchFamily="34" charset="0"/>
                <a:ea typeface="+mn-ea"/>
                <a:cs typeface="ZEISS Frutiger Next W1G Heavy" panose="020B0903040204020203" pitchFamily="34" charset="0"/>
              </a:rPr>
              <a:t>SUMMIT</a:t>
            </a:r>
            <a:r>
              <a:rPr lang="en-US" sz="8000" dirty="0"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en-US" sz="8000" dirty="0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2024</a:t>
            </a:r>
          </a:p>
          <a:p>
            <a:pPr>
              <a:spcAft>
                <a:spcPts val="1200"/>
              </a:spcAft>
            </a:pPr>
            <a:r>
              <a:rPr lang="en-US" sz="6400" dirty="0"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Innovate with AI</a:t>
            </a:r>
          </a:p>
          <a:p>
            <a:r>
              <a:rPr lang="en-US" sz="5000" b="1" dirty="0">
                <a:solidFill>
                  <a:srgbClr val="008BD0"/>
                </a:solidFill>
                <a:latin typeface="ZEISS Frutiger Next W1G" panose="020B0503040204020203" pitchFamily="34" charset="0"/>
                <a:cs typeface="ZEISS Frutiger Next W1G" panose="020B0503040204020203" pitchFamily="34" charset="0"/>
              </a:rPr>
              <a:t>www.zeiss.com/innovation-summit</a:t>
            </a:r>
          </a:p>
        </p:txBody>
      </p:sp>
      <p:sp>
        <p:nvSpPr>
          <p:cNvPr id="12" name="Rechteck 3">
            <a:extLst>
              <a:ext uri="{FF2B5EF4-FFF2-40B4-BE49-F238E27FC236}">
                <a16:creationId xmlns:a16="http://schemas.microsoft.com/office/drawing/2014/main" id="{E1AD6C77-8AE3-4851-B554-C1E4C634044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473200" y="5588000"/>
            <a:ext cx="27368500" cy="31395993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lIns="393299" tIns="393299" rIns="196649" bIns="393299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de-DE" altLang="de-DE" sz="5244" dirty="0">
              <a:solidFill>
                <a:srgbClr val="000000"/>
              </a:solidFill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DEBDD388-C595-E6A1-03B0-925AA8462F03}"/>
              </a:ext>
            </a:extLst>
          </p:cNvPr>
          <p:cNvSpPr>
            <a:spLocks/>
          </p:cNvSpPr>
          <p:nvPr userDrawn="1"/>
        </p:nvSpPr>
        <p:spPr bwMode="auto">
          <a:xfrm>
            <a:off x="26681700" y="1294084"/>
            <a:ext cx="2160000" cy="2160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  <a:effectLst/>
        </p:spPr>
        <p:txBody>
          <a:bodyPr wrap="none" anchor="t"/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Aft>
                <a:spcPts val="800"/>
              </a:spcAft>
              <a:defRPr/>
            </a:pPr>
            <a:r>
              <a:rPr lang="de-DE" altLang="de-DE" sz="3200" b="1" dirty="0" err="1"/>
              <a:t>No</a:t>
            </a:r>
            <a:r>
              <a:rPr lang="de-DE" altLang="de-DE" sz="3200" b="1" dirty="0"/>
              <a:t>.</a:t>
            </a:r>
          </a:p>
          <a:p>
            <a:pPr algn="ctr">
              <a:spcAft>
                <a:spcPts val="800"/>
              </a:spcAft>
              <a:defRPr/>
            </a:pPr>
            <a:endParaRPr lang="de-DE" altLang="de-DE" sz="2000" dirty="0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8DD75B81-0F99-D11D-AD67-14861593A93E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56737" y="34823993"/>
            <a:ext cx="2185497" cy="2160000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E465FAAF-EA98-9715-F685-7E9B33C40FD2}"/>
              </a:ext>
            </a:extLst>
          </p:cNvPr>
          <p:cNvSpPr txBox="1"/>
          <p:nvPr userDrawn="1"/>
        </p:nvSpPr>
        <p:spPr>
          <a:xfrm>
            <a:off x="26579542" y="34564320"/>
            <a:ext cx="226215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dirty="0"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Vote for Best Poster Award</a:t>
            </a:r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BD59D919-5AAD-F0DC-B1CC-8CC8FED0B3A3}"/>
              </a:ext>
            </a:extLst>
          </p:cNvPr>
          <p:cNvSpPr txBox="1"/>
          <p:nvPr userDrawn="1"/>
        </p:nvSpPr>
        <p:spPr>
          <a:xfrm>
            <a:off x="1467182" y="4869234"/>
            <a:ext cx="4320000" cy="72000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endParaRPr lang="de-DE" sz="2400" dirty="0"/>
          </a:p>
        </p:txBody>
      </p:sp>
    </p:spTree>
    <p:extLst>
      <p:ext uri="{BB962C8B-B14F-4D97-AF65-F5344CB8AC3E}">
        <p14:creationId xmlns:p14="http://schemas.microsoft.com/office/powerpoint/2010/main" val="1386213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</p:sldLayoutIdLst>
  <p:txStyles>
    <p:titleStyle>
      <a:lvl1pPr algn="l" defTabSz="3027487" rtl="0" eaLnBrk="1" latinLnBrk="0" hangingPunct="1">
        <a:lnSpc>
          <a:spcPct val="90000"/>
        </a:lnSpc>
        <a:spcBef>
          <a:spcPct val="0"/>
        </a:spcBef>
        <a:buNone/>
        <a:defRPr sz="1456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756872" indent="-756872" algn="l" defTabSz="3027487" rtl="0" eaLnBrk="1" latinLnBrk="0" hangingPunct="1">
        <a:lnSpc>
          <a:spcPct val="90000"/>
        </a:lnSpc>
        <a:spcBef>
          <a:spcPts val="3311"/>
        </a:spcBef>
        <a:buFont typeface="Arial" panose="020B0604020202020204" pitchFamily="34" charset="0"/>
        <a:buChar char="•"/>
        <a:defRPr sz="9271" kern="1200">
          <a:solidFill>
            <a:schemeClr val="tx1"/>
          </a:solidFill>
          <a:latin typeface="+mn-lt"/>
          <a:ea typeface="+mn-ea"/>
          <a:cs typeface="+mn-cs"/>
        </a:defRPr>
      </a:lvl1pPr>
      <a:lvl2pPr marL="2270615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7946" kern="1200">
          <a:solidFill>
            <a:schemeClr val="tx1"/>
          </a:solidFill>
          <a:latin typeface="+mn-lt"/>
          <a:ea typeface="+mn-ea"/>
          <a:cs typeface="+mn-cs"/>
        </a:defRPr>
      </a:lvl2pPr>
      <a:lvl3pPr marL="3784359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6622" kern="1200">
          <a:solidFill>
            <a:schemeClr val="tx1"/>
          </a:solidFill>
          <a:latin typeface="+mn-lt"/>
          <a:ea typeface="+mn-ea"/>
          <a:cs typeface="+mn-cs"/>
        </a:defRPr>
      </a:lvl3pPr>
      <a:lvl4pPr marL="5298102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4pPr>
      <a:lvl5pPr marL="6811846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5pPr>
      <a:lvl6pPr marL="8325589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6pPr>
      <a:lvl7pPr marL="9839333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7pPr>
      <a:lvl8pPr marL="11353076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8pPr>
      <a:lvl9pPr marL="12866820" indent="-756872" algn="l" defTabSz="3027487" rtl="0" eaLnBrk="1" latinLnBrk="0" hangingPunct="1">
        <a:lnSpc>
          <a:spcPct val="90000"/>
        </a:lnSpc>
        <a:spcBef>
          <a:spcPts val="1655"/>
        </a:spcBef>
        <a:buFont typeface="Arial" panose="020B0604020202020204" pitchFamily="34" charset="0"/>
        <a:buChar char="•"/>
        <a:defRPr sz="5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1pPr>
      <a:lvl2pPr marL="1513743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2pPr>
      <a:lvl3pPr marL="3027487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3pPr>
      <a:lvl4pPr marL="4541230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4pPr>
      <a:lvl5pPr marL="6054974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5pPr>
      <a:lvl6pPr marL="7568717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6pPr>
      <a:lvl7pPr marL="9082461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7pPr>
      <a:lvl8pPr marL="10596204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8pPr>
      <a:lvl9pPr marL="12109948" algn="l" defTabSz="3027487" rtl="0" eaLnBrk="1" latinLnBrk="0" hangingPunct="1">
        <a:defRPr sz="596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Box 14"/>
          <p:cNvSpPr txBox="1">
            <a:spLocks noChangeArrowheads="1"/>
          </p:cNvSpPr>
          <p:nvPr/>
        </p:nvSpPr>
        <p:spPr bwMode="auto">
          <a:xfrm>
            <a:off x="1509713" y="1105400"/>
            <a:ext cx="16483600" cy="29589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de-DE" altLang="de-DE" sz="8740" b="1" dirty="0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Title </a:t>
            </a:r>
            <a:r>
              <a:rPr lang="de-DE" altLang="de-DE" sz="8740" b="1" dirty="0" err="1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of</a:t>
            </a:r>
            <a:r>
              <a:rPr lang="de-DE" altLang="de-DE" sz="8740" b="1" dirty="0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 </a:t>
            </a:r>
            <a:r>
              <a:rPr lang="de-DE" altLang="de-DE" sz="8740" b="1" dirty="0" err="1">
                <a:latin typeface="ZEISS Frutiger Next W1G Heavy" panose="020B0903040204020203" pitchFamily="34" charset="0"/>
                <a:cs typeface="ZEISS Frutiger Next W1G Heavy" panose="020B0903040204020203" pitchFamily="34" charset="0"/>
              </a:rPr>
              <a:t>submission</a:t>
            </a:r>
            <a:endParaRPr lang="de-DE" altLang="de-DE" sz="8740" b="1" dirty="0">
              <a:latin typeface="ZEISS Frutiger Next W1G Heavy" panose="020B0903040204020203" pitchFamily="34" charset="0"/>
              <a:cs typeface="ZEISS Frutiger Next W1G Heavy" panose="020B0903040204020203" pitchFamily="34" charset="0"/>
            </a:endParaRPr>
          </a:p>
          <a:p>
            <a:pPr>
              <a:spcBef>
                <a:spcPct val="50000"/>
              </a:spcBef>
            </a:pPr>
            <a:r>
              <a:rPr lang="de-DE" altLang="de-DE" sz="6555" dirty="0"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Team </a:t>
            </a:r>
            <a:r>
              <a:rPr lang="de-DE" altLang="de-DE" sz="6555" dirty="0" err="1"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members</a:t>
            </a:r>
            <a:r>
              <a:rPr lang="de-DE" altLang="de-DE" sz="6555" dirty="0"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: Name + SBU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77AD2EE2-716B-4535-9986-A50C5938D741}"/>
              </a:ext>
            </a:extLst>
          </p:cNvPr>
          <p:cNvSpPr txBox="1"/>
          <p:nvPr/>
        </p:nvSpPr>
        <p:spPr>
          <a:xfrm>
            <a:off x="27446838" y="37015708"/>
            <a:ext cx="149111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/>
              <a:t>V1.1 012024</a:t>
            </a:r>
            <a:endParaRPr lang="en-US" sz="2000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E30A2DA-169F-402D-BAD7-2729E2BFA514}"/>
              </a:ext>
            </a:extLst>
          </p:cNvPr>
          <p:cNvSpPr txBox="1"/>
          <p:nvPr/>
        </p:nvSpPr>
        <p:spPr>
          <a:xfrm>
            <a:off x="1509713" y="5588000"/>
            <a:ext cx="27360000" cy="31427708"/>
          </a:xfrm>
          <a:prstGeom prst="rect">
            <a:avLst/>
          </a:prstGeom>
          <a:noFill/>
        </p:spPr>
        <p:txBody>
          <a:bodyPr wrap="square" lIns="180000" tIns="180000" rIns="180000" bIns="180000" rtlCol="0">
            <a:noAutofit/>
          </a:bodyPr>
          <a:lstStyle/>
          <a:p>
            <a:r>
              <a:rPr lang="de-DE" altLang="de-DE" sz="4800" b="1" dirty="0">
                <a:solidFill>
                  <a:srgbClr val="000000"/>
                </a:solidFill>
                <a:latin typeface="ZEISS Frutiger Next W1G" panose="020B0503040204020203" pitchFamily="34" charset="0"/>
                <a:cs typeface="ZEISS Frutiger Next W1G" panose="020B0503040204020203" pitchFamily="34" charset="0"/>
              </a:rPr>
              <a:t>Description </a:t>
            </a:r>
            <a:r>
              <a:rPr lang="de-DE" altLang="de-DE" sz="4800" b="1" dirty="0" err="1">
                <a:solidFill>
                  <a:srgbClr val="000000"/>
                </a:solidFill>
                <a:latin typeface="ZEISS Frutiger Next W1G" panose="020B0503040204020203" pitchFamily="34" charset="0"/>
                <a:cs typeface="ZEISS Frutiger Next W1G" panose="020B0503040204020203" pitchFamily="34" charset="0"/>
              </a:rPr>
              <a:t>of</a:t>
            </a:r>
            <a:r>
              <a:rPr lang="de-DE" altLang="de-DE" sz="4800" b="1" dirty="0">
                <a:solidFill>
                  <a:srgbClr val="000000"/>
                </a:solidFill>
                <a:latin typeface="ZEISS Frutiger Next W1G" panose="020B0503040204020203" pitchFamily="34" charset="0"/>
                <a:cs typeface="ZEISS Frutiger Next W1G" panose="020B0503040204020203" pitchFamily="34" charset="0"/>
              </a:rPr>
              <a:t> </a:t>
            </a:r>
            <a:r>
              <a:rPr lang="de-DE" altLang="de-DE" sz="4800" b="1" dirty="0" err="1">
                <a:solidFill>
                  <a:srgbClr val="000000"/>
                </a:solidFill>
                <a:latin typeface="ZEISS Frutiger Next W1G" panose="020B0503040204020203" pitchFamily="34" charset="0"/>
                <a:cs typeface="ZEISS Frutiger Next W1G" panose="020B0503040204020203" pitchFamily="34" charset="0"/>
              </a:rPr>
              <a:t>project</a:t>
            </a:r>
            <a:endParaRPr lang="de-DE" altLang="de-DE" sz="4800" b="1" dirty="0">
              <a:solidFill>
                <a:srgbClr val="000000"/>
              </a:solidFill>
              <a:latin typeface="ZEISS Frutiger Next W1G" panose="020B0503040204020203" pitchFamily="34" charset="0"/>
              <a:cs typeface="ZEISS Frutiger Next W1G" panose="020B0503040204020203" pitchFamily="34" charset="0"/>
            </a:endParaRPr>
          </a:p>
          <a:p>
            <a:endParaRPr lang="de-DE" altLang="de-DE" sz="4800" dirty="0">
              <a:solidFill>
                <a:srgbClr val="000000"/>
              </a:solidFill>
              <a:latin typeface="ZEISS Frutiger Next W1G Light" panose="020B0303040204020203" pitchFamily="34" charset="0"/>
              <a:cs typeface="ZEISS Frutiger Next W1G Light" panose="020B0303040204020203" pitchFamily="34" charset="0"/>
            </a:endParaRPr>
          </a:p>
          <a:p>
            <a:pPr>
              <a:spcAft>
                <a:spcPts val="600"/>
              </a:spcAft>
            </a:pP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Pieces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of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advice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: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Use English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language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only</a:t>
            </a:r>
            <a:endParaRPr lang="de-DE" altLang="de-DE" sz="4800" dirty="0">
              <a:solidFill>
                <a:srgbClr val="000000"/>
              </a:solidFill>
              <a:latin typeface="ZEISS Frutiger Next W1G Light" panose="020B0303040204020203" pitchFamily="34" charset="0"/>
              <a:cs typeface="ZEISS Frutiger Next W1G Light" panose="020B0303040204020203" pitchFamily="34" charset="0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Write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your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text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en-US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short and sweet, but clear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.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No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legal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language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.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Use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images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and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diagrams</a:t>
            </a:r>
            <a:endParaRPr lang="de-DE" altLang="de-DE" sz="4800" dirty="0">
              <a:solidFill>
                <a:srgbClr val="000000"/>
              </a:solidFill>
              <a:latin typeface="ZEISS Frutiger Next W1G Light" panose="020B0303040204020203" pitchFamily="34" charset="0"/>
              <a:cs typeface="ZEISS Frutiger Next W1G Light" panose="020B0303040204020203" pitchFamily="34" charset="0"/>
            </a:endParaRP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Use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subdivisions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(e. g. in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single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boxes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)</a:t>
            </a:r>
          </a:p>
          <a:p>
            <a:pPr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No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second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page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, </a:t>
            </a:r>
            <a:r>
              <a:rPr lang="de-DE" altLang="de-DE" sz="4800" dirty="0" err="1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please</a:t>
            </a:r>
            <a:r>
              <a:rPr lang="de-DE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 </a:t>
            </a:r>
            <a:r>
              <a:rPr lang="en-US" altLang="de-DE" sz="4800" dirty="0">
                <a:solidFill>
                  <a:srgbClr val="000000"/>
                </a:solidFill>
                <a:latin typeface="ZEISS Frutiger Next W1G Light" panose="020B0303040204020203" pitchFamily="34" charset="0"/>
                <a:cs typeface="ZEISS Frutiger Next W1G Light" panose="020B0303040204020203" pitchFamily="34" charset="0"/>
              </a:rPr>
              <a:t>use the available space in the box here</a:t>
            </a:r>
            <a:endParaRPr lang="de-DE" altLang="de-DE" sz="4800" dirty="0">
              <a:solidFill>
                <a:srgbClr val="000000"/>
              </a:solidFill>
              <a:latin typeface="ZEISS Frutiger Next W1G Light" panose="020B0303040204020203" pitchFamily="34" charset="0"/>
              <a:cs typeface="ZEISS Frutiger Next W1G Light" panose="020B0303040204020203" pitchFamily="34" charset="0"/>
            </a:endParaRPr>
          </a:p>
          <a:p>
            <a:endParaRPr lang="en-US" sz="48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E634C97A-B6E0-9A9D-DEEF-E74604535954}"/>
              </a:ext>
            </a:extLst>
          </p:cNvPr>
          <p:cNvSpPr txBox="1"/>
          <p:nvPr/>
        </p:nvSpPr>
        <p:spPr>
          <a:xfrm>
            <a:off x="26678021" y="2063285"/>
            <a:ext cx="2191692" cy="123110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ctr">
              <a:spcAft>
                <a:spcPts val="800"/>
              </a:spcAft>
              <a:defRPr/>
            </a:pPr>
            <a:r>
              <a:rPr lang="de-DE" altLang="de-DE" sz="16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de-DE" alt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You‘ll</a:t>
            </a:r>
            <a:r>
              <a:rPr lang="de-DE" alt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alt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receive</a:t>
            </a:r>
            <a:r>
              <a:rPr lang="de-DE" alt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alt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poster</a:t>
            </a:r>
            <a:r>
              <a:rPr lang="de-DE" alt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alt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number</a:t>
            </a:r>
            <a:r>
              <a:rPr lang="de-DE" alt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after </a:t>
            </a:r>
            <a:r>
              <a:rPr lang="de-DE" alt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author</a:t>
            </a:r>
            <a:r>
              <a:rPr lang="de-DE" alt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e-DE" altLang="de-DE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alt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notification</a:t>
            </a:r>
            <a:r>
              <a:rPr lang="de-DE" altLang="de-DE" sz="16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de-DE" alt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Please</a:t>
            </a:r>
            <a:r>
              <a:rPr lang="de-DE" alt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alt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exchange</a:t>
            </a:r>
            <a:r>
              <a:rPr lang="de-DE" alt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alt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it</a:t>
            </a:r>
            <a:r>
              <a:rPr lang="de-DE" alt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alt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de-DE" alt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alt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this</a:t>
            </a:r>
            <a:r>
              <a:rPr lang="de-DE" altLang="de-DE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altLang="de-DE" sz="1600" dirty="0" err="1">
                <a:latin typeface="Arial" panose="020B0604020202020204" pitchFamily="34" charset="0"/>
                <a:cs typeface="Arial" panose="020B0604020202020204" pitchFamily="34" charset="0"/>
              </a:rPr>
              <a:t>text</a:t>
            </a:r>
            <a:r>
              <a:rPr lang="de-DE" altLang="de-DE" sz="1600" dirty="0">
                <a:latin typeface="Arial" panose="020B0604020202020204" pitchFamily="34" charset="0"/>
                <a:cs typeface="Arial" panose="020B0604020202020204" pitchFamily="34" charset="0"/>
              </a:rPr>
              <a:t>.)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EB0296B-FAA0-1A22-9F29-B57D18F67AF9}"/>
              </a:ext>
            </a:extLst>
          </p:cNvPr>
          <p:cNvSpPr txBox="1"/>
          <p:nvPr/>
        </p:nvSpPr>
        <p:spPr>
          <a:xfrm>
            <a:off x="1509713" y="4941669"/>
            <a:ext cx="3507692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800" dirty="0" err="1"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Please</a:t>
            </a:r>
            <a:r>
              <a:rPr lang="de-DE" sz="1800" dirty="0"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 </a:t>
            </a:r>
            <a:r>
              <a:rPr lang="de-DE" sz="1800" dirty="0" err="1"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enter</a:t>
            </a:r>
            <a:r>
              <a:rPr lang="de-DE" sz="1800" dirty="0"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 </a:t>
            </a:r>
            <a:r>
              <a:rPr lang="de-DE" sz="1800" dirty="0" err="1"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level</a:t>
            </a:r>
            <a:r>
              <a:rPr lang="de-DE" sz="1800" dirty="0"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 </a:t>
            </a:r>
            <a:r>
              <a:rPr lang="de-DE" sz="1800" dirty="0" err="1"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of</a:t>
            </a:r>
            <a:r>
              <a:rPr lang="de-DE" sz="1800" dirty="0"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 </a:t>
            </a:r>
            <a:r>
              <a:rPr lang="de-DE" sz="1800" dirty="0" err="1">
                <a:latin typeface="ZEISS Frutiger Next W1G Hv Cn" panose="020B0906040204020203" pitchFamily="34" charset="0"/>
                <a:cs typeface="ZEISS Frutiger Next W1G Hv Cn" panose="020B0906040204020203" pitchFamily="34" charset="0"/>
              </a:rPr>
              <a:t>classification</a:t>
            </a:r>
            <a:endParaRPr lang="de-DE" sz="1800" dirty="0">
              <a:latin typeface="ZEISS Frutiger Next W1G Hv Cn" panose="020B0906040204020203" pitchFamily="34" charset="0"/>
              <a:cs typeface="ZEISS Frutiger Next W1G Hv Cn" panose="020B0906040204020203" pitchFamily="34" charset="0"/>
            </a:endParaRP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304625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62121713-4935-4c8b-a81e-9e6278b8e607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615CDE94A37B4DAFE16161319155B6" ma:contentTypeVersion="7" ma:contentTypeDescription="Create a new document." ma:contentTypeScope="" ma:versionID="374a5336eb7ee252f6141667510149a4">
  <xsd:schema xmlns:xsd="http://www.w3.org/2001/XMLSchema" xmlns:xs="http://www.w3.org/2001/XMLSchema" xmlns:p="http://schemas.microsoft.com/office/2006/metadata/properties" xmlns:ns2="acda96ba-ab8e-4ba7-8873-b22087d7d977" targetNamespace="http://schemas.microsoft.com/office/2006/metadata/properties" ma:root="true" ma:fieldsID="6037b7623d4b1f66cb90138fb7b1b63a" ns2:_="">
    <xsd:import namespace="acda96ba-ab8e-4ba7-8873-b22087d7d97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da96ba-ab8e-4ba7-8873-b22087d7d97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5FF793E-F8A6-48AD-9BD9-E7A240261D8D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acda96ba-ab8e-4ba7-8873-b22087d7d977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1401AE7-4189-47F5-AC8F-6D71C38E458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2FA23B4-3BF9-46C2-9BCD-B1C66033285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cda96ba-ab8e-4ba7-8873-b22087d7d97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93</Words>
  <Application>Microsoft Office PowerPoint</Application>
  <PresentationFormat>Benutzerdefiniert</PresentationFormat>
  <Paragraphs>13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Wingdings</vt:lpstr>
      <vt:lpstr>ZEISS Frutiger Next W1G</vt:lpstr>
      <vt:lpstr>ZEISS Frutiger Next W1G Heavy</vt:lpstr>
      <vt:lpstr>ZEISS Frutiger Next W1G Hv Cn</vt:lpstr>
      <vt:lpstr>ZEISS Frutiger Next W1G Light</vt:lpstr>
      <vt:lpstr>Office Theme</vt:lpstr>
      <vt:lpstr>think-cell Folie</vt:lpstr>
      <vt:lpstr>PowerPoint-Präsentation</vt:lpstr>
    </vt:vector>
  </TitlesOfParts>
  <Company>Carl Zeis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legelmilch, Stefanie</dc:creator>
  <cp:lastModifiedBy>Hammad, Leila</cp:lastModifiedBy>
  <cp:revision>186</cp:revision>
  <cp:lastPrinted>2017-08-28T07:00:15Z</cp:lastPrinted>
  <dcterms:created xsi:type="dcterms:W3CDTF">2017-06-09T05:35:51Z</dcterms:created>
  <dcterms:modified xsi:type="dcterms:W3CDTF">2024-04-08T13:12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6615CDE94A37B4DAFE16161319155B6</vt:lpwstr>
  </property>
</Properties>
</file>